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9" r:id="rId1"/>
    <p:sldMasterId id="2147483806" r:id="rId2"/>
  </p:sldMasterIdLst>
  <p:notesMasterIdLst>
    <p:notesMasterId r:id="rId12"/>
  </p:notesMasterIdLst>
  <p:sldIdLst>
    <p:sldId id="276" r:id="rId3"/>
    <p:sldId id="325" r:id="rId4"/>
    <p:sldId id="324" r:id="rId5"/>
    <p:sldId id="326" r:id="rId6"/>
    <p:sldId id="327" r:id="rId7"/>
    <p:sldId id="328" r:id="rId8"/>
    <p:sldId id="329" r:id="rId9"/>
    <p:sldId id="330" r:id="rId10"/>
    <p:sldId id="331" r:id="rId11"/>
  </p:sldIdLst>
  <p:sldSz cx="9144000" cy="5143500" type="screen16x9"/>
  <p:notesSz cx="6858000" cy="9144000"/>
  <p:embeddedFontLst>
    <p:embeddedFont>
      <p:font typeface="Arial Black" panose="020B0A04020102020204" pitchFamily="34" charset="0"/>
      <p:bold r:id="rId13"/>
    </p:embeddedFont>
    <p:embeddedFont>
      <p:font typeface="Arial Bold" panose="020B0704020202020204" pitchFamily="34" charset="0"/>
      <p:bold r:id="rId14"/>
    </p:embeddedFont>
    <p:embeddedFont>
      <p:font typeface="Raleway" pitchFamily="2" charset="0"/>
      <p:regular r:id="rId15"/>
      <p:bold r:id="rId16"/>
      <p:italic r:id="rId17"/>
      <p:boldItalic r:id="rId18"/>
    </p:embeddedFont>
    <p:embeddedFont>
      <p:font typeface="Varela" panose="020B0604020202020204" charset="0"/>
      <p:regular r:id="rId1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2B3E"/>
    <a:srgbClr val="1D202D"/>
    <a:srgbClr val="282E3F"/>
    <a:srgbClr val="696E7C"/>
    <a:srgbClr val="656875"/>
    <a:srgbClr val="D6E5EE"/>
    <a:srgbClr val="C2C1C0"/>
    <a:srgbClr val="E9E9E9"/>
    <a:srgbClr val="33323D"/>
    <a:srgbClr val="2C2D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7FEA4BB-FC8C-4413-B31B-8ECB4AB8C58C}">
  <a:tblStyle styleId="{87FEA4BB-FC8C-4413-B31B-8ECB4AB8C58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249" autoAdjust="0"/>
  </p:normalViewPr>
  <p:slideViewPr>
    <p:cSldViewPr snapToGrid="0">
      <p:cViewPr varScale="1">
        <p:scale>
          <a:sx n="95" d="100"/>
          <a:sy n="95" d="100"/>
        </p:scale>
        <p:origin x="66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4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font" Target="fonts/font3.fntdata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font" Target="fonts/font7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2.fntdata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787422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575308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041306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591176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375325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812700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8244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883576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37634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D81E64D-5A4C-D340-8AD8-9477351E72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10C20BE2-BFE4-094D-8879-A05F3EC093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545EB04-2E7D-5342-A4F1-37FF3CAFED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6E61F9-FC32-9E4E-82BF-2B724171432F}" type="datetimeFigureOut">
              <a:rPr lang="it-IT" smtClean="0"/>
              <a:t>08/01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1B775FC-32DC-3A49-9D5B-3214556169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D5BAB01-8EDC-C74D-A903-7EB017C97B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5E166-5124-4F45-AA84-1F66835FEF43}" type="slidenum">
              <a:rPr lang="it-IT" smtClean="0"/>
              <a:t>‹#›</a:t>
            </a:fld>
            <a:endParaRPr lang="it-IT"/>
          </a:p>
        </p:txBody>
      </p:sp>
      <p:sp>
        <p:nvSpPr>
          <p:cNvPr id="7" name="AutoShape 2" descr="Image result for python code logo"/>
          <p:cNvSpPr>
            <a:spLocks noChangeAspect="1" noChangeArrowheads="1"/>
          </p:cNvSpPr>
          <p:nvPr userDrawn="1"/>
        </p:nvSpPr>
        <p:spPr bwMode="auto">
          <a:xfrm>
            <a:off x="116681" y="-451247"/>
            <a:ext cx="942975" cy="942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050"/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9264" y="0"/>
            <a:ext cx="942975" cy="94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asellaDiTesto 5">
            <a:extLst>
              <a:ext uri="{FF2B5EF4-FFF2-40B4-BE49-F238E27FC236}">
                <a16:creationId xmlns:a16="http://schemas.microsoft.com/office/drawing/2014/main" id="{1960640D-3264-445D-B8E2-486F4F145D3D}"/>
              </a:ext>
            </a:extLst>
          </p:cNvPr>
          <p:cNvSpPr txBox="1"/>
          <p:nvPr userDrawn="1"/>
        </p:nvSpPr>
        <p:spPr>
          <a:xfrm>
            <a:off x="7904590" y="4866501"/>
            <a:ext cx="12394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>
                <a:latin typeface="Haarlem Deco DEMO" pitchFamily="2" charset="0"/>
              </a:rPr>
              <a:t>Lorenzo Cerreta</a:t>
            </a:r>
          </a:p>
        </p:txBody>
      </p:sp>
    </p:spTree>
    <p:extLst>
      <p:ext uri="{BB962C8B-B14F-4D97-AF65-F5344CB8AC3E}">
        <p14:creationId xmlns:p14="http://schemas.microsoft.com/office/powerpoint/2010/main" val="16145734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4" name="Objet 1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AA8C98AA-92FF-4AFE-8ADC-95B822B9EA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152235"/>
              </a:gs>
              <a:gs pos="100000">
                <a:srgbClr val="152235">
                  <a:alpha val="0"/>
                </a:srgbClr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solidFill>
          <a:srgbClr val="76A5A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984875"/>
            <a:ext cx="2383800" cy="62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57200" y="1715123"/>
            <a:ext cx="4762200" cy="273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╺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1pPr>
            <a:lvl2pPr marL="914400" lvl="1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2pPr>
            <a:lvl3pPr marL="1371600" lvl="2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3pPr>
            <a:lvl4pPr marL="1828800" lvl="3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4pPr>
            <a:lvl5pPr marL="2286000" lvl="4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5pPr>
            <a:lvl6pPr marL="2743200" lvl="5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6pPr>
            <a:lvl7pPr marL="3200400" lvl="6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7pPr>
            <a:lvl8pPr marL="3657600" lvl="7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8pPr>
            <a:lvl9pPr marL="4114800" lvl="8" indent="-317500"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457200" y="4673650"/>
            <a:ext cx="548700" cy="24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1pPr>
            <a:lvl2pPr lvl="1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2pPr>
            <a:lvl3pPr lvl="2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3pPr>
            <a:lvl4pPr lvl="3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4pPr>
            <a:lvl5pPr lvl="4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5pPr>
            <a:lvl6pPr lvl="5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6pPr>
            <a:lvl7pPr lvl="6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7pPr>
            <a:lvl8pPr lvl="7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8pPr>
            <a:lvl9pPr lvl="8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871" r:id="rId1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2C0BCE8-C25E-42D0-87E8-C1D98EBCE00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8763" y="249057"/>
            <a:ext cx="8618537" cy="582104"/>
          </a:xfrm>
          <a:prstGeom prst="rect">
            <a:avLst/>
          </a:prstGeom>
        </p:spPr>
        <p:txBody>
          <a:bodyPr vert="horz" lIns="0" tIns="0" rIns="130101" bIns="0" rtlCol="0" anchor="t" anchorCtr="0">
            <a:noAutofit/>
          </a:bodyPr>
          <a:lstStyle/>
          <a:p>
            <a:r>
              <a:rPr lang="en-US" dirty="0"/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763" y="1323054"/>
            <a:ext cx="8618537" cy="32298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4464" y="4779120"/>
            <a:ext cx="578213" cy="14421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1" i="0">
                <a:solidFill>
                  <a:schemeClr val="tx2"/>
                </a:solidFill>
                <a:latin typeface="Arial Bold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203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</p:sldLayoutIdLst>
  <p:hf hdr="0" ftr="0" dt="0"/>
  <p:txStyles>
    <p:titleStyle>
      <a:lvl1pPr algn="l" defTabSz="1301008" rtl="0" eaLnBrk="1" latinLnBrk="0" hangingPunct="1">
        <a:lnSpc>
          <a:spcPct val="80000"/>
        </a:lnSpc>
        <a:spcBef>
          <a:spcPct val="0"/>
        </a:spcBef>
        <a:buNone/>
        <a:defRPr sz="2400" b="0" i="0" kern="1200" cap="all" spc="-100" baseline="0">
          <a:solidFill>
            <a:schemeClr val="tx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144463" indent="-144463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171450" indent="-136525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2"/>
          </a:solidFill>
          <a:latin typeface="+mn-lt"/>
          <a:ea typeface="Arial Bold" charset="0"/>
          <a:cs typeface="Arial Bold" charset="0"/>
        </a:defRPr>
      </a:lvl6pPr>
      <a:lvl7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1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7pPr>
      <a:lvl8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0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8pPr>
      <a:lvl9pPr marL="144463" indent="-144463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4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0504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1008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1512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2017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52521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03025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53529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04033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96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63" userDrawn="1">
          <p15:clr>
            <a:srgbClr val="F26B43"/>
          </p15:clr>
        </p15:guide>
        <p15:guide id="4" pos="5592" userDrawn="1">
          <p15:clr>
            <a:srgbClr val="F26B43"/>
          </p15:clr>
        </p15:guide>
        <p15:guide id="5" orient="horz" pos="852" userDrawn="1">
          <p15:clr>
            <a:srgbClr val="F26B43"/>
          </p15:clr>
        </p15:guide>
        <p15:guide id="7" orient="horz" pos="156" userDrawn="1">
          <p15:clr>
            <a:srgbClr val="F26B43"/>
          </p15:clr>
        </p15:guide>
        <p15:guide id="8" orient="horz" pos="2868" userDrawn="1">
          <p15:clr>
            <a:srgbClr val="F26B43"/>
          </p15:clr>
        </p15:guide>
        <p15:guide id="9" orient="horz" pos="1524" userDrawn="1">
          <p15:clr>
            <a:srgbClr val="F26B43"/>
          </p15:clr>
        </p15:guide>
        <p15:guide id="10" orient="horz" pos="30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notebooks/intro.ipynb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youtube.com/watch?v=Y2q_b4ugPWk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891468"/>
            <a:ext cx="9144000" cy="1790700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/>
          </a:bodyPr>
          <a:lstStyle/>
          <a:p>
            <a:r>
              <a:rPr lang="it-IT" sz="5400" dirty="0">
                <a:solidFill>
                  <a:srgbClr val="FFC202"/>
                </a:solidFill>
                <a:latin typeface="Haarlem Deco DEMO" pitchFamily="2" charset="0"/>
              </a:rPr>
              <a:t>Python Crash Course</a:t>
            </a:r>
          </a:p>
        </p:txBody>
      </p:sp>
      <p:sp>
        <p:nvSpPr>
          <p:cNvPr id="6" name="Titolo 1">
            <a:extLst>
              <a:ext uri="{FF2B5EF4-FFF2-40B4-BE49-F238E27FC236}">
                <a16:creationId xmlns:a16="http://schemas.microsoft.com/office/drawing/2014/main" id="{B15E60A8-871E-4E58-96CF-FF7C83CB3263}"/>
              </a:ext>
            </a:extLst>
          </p:cNvPr>
          <p:cNvSpPr txBox="1">
            <a:spLocks/>
          </p:cNvSpPr>
          <p:nvPr/>
        </p:nvSpPr>
        <p:spPr>
          <a:xfrm>
            <a:off x="11727" y="1636722"/>
            <a:ext cx="9144000" cy="1790700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 spcFirstLastPara="1" wrap="square" lIns="91425" tIns="91425" rIns="91425" bIns="91425" anchor="b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45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it-IT" sz="4800">
                <a:solidFill>
                  <a:srgbClr val="FFC202"/>
                </a:solidFill>
                <a:latin typeface="Haarlem Deco DEMO" pitchFamily="2" charset="0"/>
              </a:rPr>
              <a:t>Installing libraries</a:t>
            </a:r>
            <a:endParaRPr lang="it-IT" sz="4800" dirty="0">
              <a:solidFill>
                <a:srgbClr val="FFC202"/>
              </a:solidFill>
              <a:latin typeface="Haarlem Deco DEM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15547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70" y="509372"/>
            <a:ext cx="5104436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Installing Python Libraries on  conda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1033771"/>
            <a:ext cx="835499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dirty="0">
                <a:latin typeface="Haarlem Deco DEMO" pitchFamily="2" charset="0"/>
              </a:rPr>
              <a:t>Open Anaconda Prompt and insert «conda install library». If conda does not find the library, use «pip install library».</a:t>
            </a:r>
          </a:p>
          <a:p>
            <a:endParaRPr lang="it-IT" sz="2000" dirty="0">
              <a:latin typeface="Haarlem Deco DEMO" pitchFamily="2" charset="0"/>
            </a:endParaRPr>
          </a:p>
          <a:p>
            <a:endParaRPr lang="it-IT" sz="2000" dirty="0">
              <a:latin typeface="Haarlem Deco DEMO" pitchFamily="2" charset="0"/>
            </a:endParaRPr>
          </a:p>
          <a:p>
            <a:endParaRPr lang="it-IT" sz="2000" dirty="0">
              <a:latin typeface="Haarlem Deco DEMO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1EC7452-663B-4AEB-AAB1-09EC013386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986" y="1900833"/>
            <a:ext cx="3517822" cy="302998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2536B79-F8D7-4B69-A295-2D7F5419B2C6}"/>
              </a:ext>
            </a:extLst>
          </p:cNvPr>
          <p:cNvSpPr txBox="1"/>
          <p:nvPr/>
        </p:nvSpPr>
        <p:spPr>
          <a:xfrm>
            <a:off x="4150082" y="3391382"/>
            <a:ext cx="45309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Trick:</a:t>
            </a:r>
            <a:r>
              <a:rPr lang="en-GB" dirty="0"/>
              <a:t> the </a:t>
            </a:r>
            <a:r>
              <a:rPr lang="en-GB" b="1" dirty="0"/>
              <a:t>first time </a:t>
            </a:r>
            <a:r>
              <a:rPr lang="en-GB" dirty="0"/>
              <a:t>you launch the Anaconda prompt, insert “</a:t>
            </a:r>
            <a:r>
              <a:rPr lang="en-GB" dirty="0" err="1"/>
              <a:t>conda</a:t>
            </a:r>
            <a:r>
              <a:rPr lang="en-GB" dirty="0"/>
              <a:t> config --add channels </a:t>
            </a:r>
            <a:r>
              <a:rPr lang="en-GB" dirty="0" err="1"/>
              <a:t>conda</a:t>
            </a:r>
            <a:r>
              <a:rPr lang="en-GB" dirty="0"/>
              <a:t>-forge” without the quotation marks. This will add </a:t>
            </a:r>
            <a:r>
              <a:rPr lang="en-GB" dirty="0" err="1"/>
              <a:t>conda</a:t>
            </a:r>
            <a:r>
              <a:rPr lang="en-GB" dirty="0"/>
              <a:t>-forge as a default channel, allowing </a:t>
            </a:r>
            <a:r>
              <a:rPr lang="en-GB" dirty="0" err="1"/>
              <a:t>conda</a:t>
            </a:r>
            <a:r>
              <a:rPr lang="en-GB" dirty="0"/>
              <a:t> to find many more packages. </a:t>
            </a:r>
            <a:r>
              <a:rPr lang="en-GB" dirty="0" err="1"/>
              <a:t>Conda</a:t>
            </a:r>
            <a:r>
              <a:rPr lang="en-GB" dirty="0"/>
              <a:t>-forge is a trustworthy channel. Do not download packages from channels you do not trust.</a:t>
            </a:r>
            <a:endParaRPr lang="en-GB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BAF9AFE-4623-4C42-9CC9-B3BF6FEA5F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8800" y="1900833"/>
            <a:ext cx="4713617" cy="105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031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70" y="1018656"/>
            <a:ext cx="5972538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Installing Python Libraries on Google Colab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1543055"/>
            <a:ext cx="835499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dirty="0">
                <a:latin typeface="Haarlem Deco DEMO" pitchFamily="2" charset="0"/>
              </a:rPr>
              <a:t>On </a:t>
            </a:r>
            <a:r>
              <a:rPr lang="it-IT" sz="2000" dirty="0">
                <a:solidFill>
                  <a:srgbClr val="0070C0"/>
                </a:solidFill>
                <a:latin typeface="Haarlem Deco DEMO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oogle Colab</a:t>
            </a:r>
            <a:r>
              <a:rPr lang="it-IT" sz="2000" dirty="0">
                <a:latin typeface="Haarlem Deco DEMO" pitchFamily="2" charset="0"/>
              </a:rPr>
              <a:t>, insert «!pip install library» without the quotation marks and replacing «library» with the library you want to install, then run the cell. </a:t>
            </a:r>
          </a:p>
          <a:p>
            <a:endParaRPr lang="it-IT" sz="2000" dirty="0">
              <a:latin typeface="Haarlem Deco DEMO" pitchFamily="2" charset="0"/>
            </a:endParaRPr>
          </a:p>
          <a:p>
            <a:endParaRPr lang="it-IT" sz="2000" dirty="0">
              <a:latin typeface="Haarlem Deco DEMO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19D4FFD-F034-453E-B179-8E7B7BF1E7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5975" y="2560166"/>
            <a:ext cx="8292050" cy="706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0955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69" y="509372"/>
            <a:ext cx="6157733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Installing Python Libraries on Vanilla Pyth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1033771"/>
            <a:ext cx="835499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latin typeface="Haarlem Deco DEMO" pitchFamily="2" charset="0"/>
              </a:rPr>
              <a:t>On Mac:</a:t>
            </a:r>
          </a:p>
          <a:p>
            <a:r>
              <a:rPr lang="it-IT" sz="2000" dirty="0">
                <a:latin typeface="Haarlem Deco DEMO" pitchFamily="2" charset="0"/>
              </a:rPr>
              <a:t>Launch Terminal and insert «pip3 install library» without the quotation marks and replacing «library» with the library you want to install, then run the cell. </a:t>
            </a:r>
          </a:p>
          <a:p>
            <a:endParaRPr lang="it-IT" sz="2000" dirty="0">
              <a:latin typeface="Haarlem Deco DEMO" pitchFamily="2" charset="0"/>
            </a:endParaRPr>
          </a:p>
          <a:p>
            <a:r>
              <a:rPr lang="en-GB" sz="2000" dirty="0">
                <a:latin typeface="Haarlem Deco DEMO" pitchFamily="2" charset="0"/>
              </a:rPr>
              <a:t>WATCH OUT!</a:t>
            </a:r>
          </a:p>
          <a:p>
            <a:r>
              <a:rPr lang="en-GB" sz="2000" dirty="0">
                <a:latin typeface="Haarlem Deco DEMO" pitchFamily="2" charset="0"/>
              </a:rPr>
              <a:t>Do NOT insert “pip install library”: you will install the library on Python 2!</a:t>
            </a:r>
            <a:endParaRPr lang="it-IT" sz="2000" dirty="0">
              <a:latin typeface="Haarlem Deco DEMO" pitchFamily="2" charset="0"/>
            </a:endParaRPr>
          </a:p>
          <a:p>
            <a:endParaRPr lang="it-IT" sz="2000" dirty="0">
              <a:latin typeface="Haarlem Deco DEMO" pitchFamily="2" charset="0"/>
            </a:endParaRPr>
          </a:p>
          <a:p>
            <a:endParaRPr lang="it-IT" sz="2000" dirty="0">
              <a:latin typeface="Haarlem Deco DEM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26498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69" y="509372"/>
            <a:ext cx="6157733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Installing Python Libraries on Vanilla Pyth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1033771"/>
            <a:ext cx="835499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latin typeface="Haarlem Deco DEMO" pitchFamily="2" charset="0"/>
              </a:rPr>
              <a:t>On Windows:</a:t>
            </a:r>
          </a:p>
          <a:p>
            <a:r>
              <a:rPr lang="en-GB" sz="2000" dirty="0">
                <a:latin typeface="Haarlem Deco DEMO" pitchFamily="2" charset="0"/>
              </a:rPr>
              <a:t>Open the Command Prompt and insert “pip install library”. If you get an error message, follow the troubleshooting on the next slides.</a:t>
            </a:r>
          </a:p>
          <a:p>
            <a:endParaRPr lang="en-GB" sz="2000" dirty="0">
              <a:latin typeface="Haarlem Deco DEMO" pitchFamily="2" charset="0"/>
            </a:endParaRPr>
          </a:p>
          <a:p>
            <a:endParaRPr lang="it-IT" sz="2000" dirty="0">
              <a:latin typeface="Haarlem Deco DEMO" pitchFamily="2" charset="0"/>
            </a:endParaRPr>
          </a:p>
          <a:p>
            <a:endParaRPr lang="it-IT" sz="2000" dirty="0">
              <a:latin typeface="Haarlem Deco DEMO" pitchFamily="2" charset="0"/>
            </a:endParaRPr>
          </a:p>
        </p:txBody>
      </p:sp>
      <p:pic>
        <p:nvPicPr>
          <p:cNvPr id="5" name="Picture 2" descr="Image result for open cmd wind">
            <a:extLst>
              <a:ext uri="{FF2B5EF4-FFF2-40B4-BE49-F238E27FC236}">
                <a16:creationId xmlns:a16="http://schemas.microsoft.com/office/drawing/2014/main" id="{A1F1D01D-EB24-4505-A876-1E1F177F60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957"/>
          <a:stretch/>
        </p:blipFill>
        <p:spPr bwMode="auto">
          <a:xfrm>
            <a:off x="636608" y="2105462"/>
            <a:ext cx="1491898" cy="2887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>
            <a:extLst>
              <a:ext uri="{FF2B5EF4-FFF2-40B4-BE49-F238E27FC236}">
                <a16:creationId xmlns:a16="http://schemas.microsoft.com/office/drawing/2014/main" id="{7C94425D-0C9E-42A7-85E7-E30F7A2CE2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7858" y="2105462"/>
            <a:ext cx="5312780" cy="2656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872044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69" y="509372"/>
            <a:ext cx="6157733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Installing Python Libraries on Vanilla Pyth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999046"/>
            <a:ext cx="835499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latin typeface="Haarlem Deco DEMO" pitchFamily="2" charset="0"/>
              </a:rPr>
              <a:t>On Windows: </a:t>
            </a:r>
            <a:r>
              <a:rPr lang="en-GB" sz="2000" dirty="0">
                <a:latin typeface="Haarlem Deco DEMO" pitchFamily="2" charset="0"/>
              </a:rPr>
              <a:t>If you get an error message, Python has not been added to Environment Variable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0A7E22-89D9-43E5-A2A4-AD3D41728D89}"/>
              </a:ext>
            </a:extLst>
          </p:cNvPr>
          <p:cNvSpPr txBox="1"/>
          <p:nvPr/>
        </p:nvSpPr>
        <p:spPr>
          <a:xfrm>
            <a:off x="1477556" y="2558136"/>
            <a:ext cx="51083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it-IT" sz="2400" dirty="0">
              <a:latin typeface="Raleway"/>
            </a:endParaRPr>
          </a:p>
        </p:txBody>
      </p:sp>
      <p:pic>
        <p:nvPicPr>
          <p:cNvPr id="12" name="Picture 14" descr="Image result for python add to path checkbox installing">
            <a:extLst>
              <a:ext uri="{FF2B5EF4-FFF2-40B4-BE49-F238E27FC236}">
                <a16:creationId xmlns:a16="http://schemas.microsoft.com/office/drawing/2014/main" id="{720A6CF2-0E5E-484D-AF17-53584A069B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2491" y="1908495"/>
            <a:ext cx="4674721" cy="2884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B8622F6-2A89-46A6-BE38-90D014AD9136}"/>
              </a:ext>
            </a:extLst>
          </p:cNvPr>
          <p:cNvSpPr txBox="1"/>
          <p:nvPr/>
        </p:nvSpPr>
        <p:spPr>
          <a:xfrm>
            <a:off x="244993" y="1812075"/>
            <a:ext cx="4060789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latin typeface="Haarlem Deco DEMO" pitchFamily="2" charset="0"/>
              </a:rPr>
              <a:t>Follow </a:t>
            </a:r>
            <a:r>
              <a:rPr lang="en-GB" sz="2000" b="1" dirty="0">
                <a:latin typeface="Haarlem Deco DEMO" pitchFamily="2" charset="0"/>
              </a:rPr>
              <a:t>one</a:t>
            </a:r>
            <a:r>
              <a:rPr lang="en-GB" sz="2000" dirty="0">
                <a:latin typeface="Haarlem Deco DEMO" pitchFamily="2" charset="0"/>
              </a:rPr>
              <a:t> of the 3 possible solutions:</a:t>
            </a:r>
          </a:p>
          <a:p>
            <a:pPr marL="457200" indent="-457200">
              <a:buFont typeface="+mj-lt"/>
              <a:buAutoNum type="alphaLcParenR"/>
            </a:pPr>
            <a:r>
              <a:rPr lang="en-GB" sz="2000" dirty="0">
                <a:solidFill>
                  <a:srgbClr val="0070C0"/>
                </a:solidFill>
                <a:latin typeface="Haarlem Deco DEMO" pitchFamily="2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dd Python to Environment Variables</a:t>
            </a:r>
            <a:endParaRPr lang="en-GB" sz="2000" dirty="0">
              <a:solidFill>
                <a:srgbClr val="0070C0"/>
              </a:solidFill>
              <a:latin typeface="Haarlem Deco DEMO" pitchFamily="2" charset="0"/>
            </a:endParaRPr>
          </a:p>
          <a:p>
            <a:pPr marL="457200" indent="-457200">
              <a:buFont typeface="+mj-lt"/>
              <a:buAutoNum type="alphaLcParenR"/>
            </a:pPr>
            <a:r>
              <a:rPr lang="en-GB" sz="2000" dirty="0">
                <a:latin typeface="Haarlem Deco DEMO" pitchFamily="2" charset="0"/>
              </a:rPr>
              <a:t>Clean Uninstall Python, Install again and while installing CHECK ‘Add to PATH’ like shown in picture</a:t>
            </a:r>
          </a:p>
          <a:p>
            <a:pPr marL="457200" indent="-457200">
              <a:buFont typeface="+mj-lt"/>
              <a:buAutoNum type="alphaLcParenR"/>
            </a:pPr>
            <a:r>
              <a:rPr lang="en-GB" sz="2000" dirty="0">
                <a:latin typeface="Haarlem Deco DEMO" pitchFamily="2" charset="0"/>
              </a:rPr>
              <a:t>Follow the next slides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32820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69" y="509372"/>
            <a:ext cx="6157733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Installing Python Libraries on Vanilla Pyth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999046"/>
            <a:ext cx="83549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latin typeface="Haarlem Deco DEMO" pitchFamily="2" charset="0"/>
              </a:rPr>
              <a:t>On Windows: </a:t>
            </a:r>
            <a:r>
              <a:rPr lang="en-GB" sz="2000" dirty="0">
                <a:latin typeface="Haarlem Deco DEMO" pitchFamily="2" charset="0"/>
              </a:rPr>
              <a:t>If you get an error message, and you follow solution 3.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13A0D86E-4669-475B-AE7E-192446D645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112" r="55316"/>
          <a:stretch/>
        </p:blipFill>
        <p:spPr bwMode="auto">
          <a:xfrm>
            <a:off x="4051138" y="1383257"/>
            <a:ext cx="3784923" cy="366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766D899-8E95-414C-A2C3-C98ADFA9FF65}"/>
              </a:ext>
            </a:extLst>
          </p:cNvPr>
          <p:cNvSpPr txBox="1"/>
          <p:nvPr/>
        </p:nvSpPr>
        <p:spPr>
          <a:xfrm>
            <a:off x="244993" y="1534887"/>
            <a:ext cx="289367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latin typeface="Haarlem Deco DEMO" pitchFamily="2" charset="0"/>
              </a:rPr>
              <a:t>Step</a:t>
            </a:r>
            <a:r>
              <a:rPr lang="en-GB" b="1" dirty="0"/>
              <a:t> </a:t>
            </a:r>
            <a:r>
              <a:rPr lang="en-GB" sz="2000" b="1" dirty="0">
                <a:latin typeface="Haarlem Deco DEMO" pitchFamily="2" charset="0"/>
              </a:rPr>
              <a:t>1:</a:t>
            </a:r>
          </a:p>
          <a:p>
            <a:r>
              <a:rPr lang="en-GB" sz="2000" dirty="0">
                <a:latin typeface="Haarlem Deco DEMO" pitchFamily="2" charset="0"/>
              </a:rPr>
              <a:t>Open IDLE location</a:t>
            </a:r>
          </a:p>
        </p:txBody>
      </p:sp>
    </p:spTree>
    <p:extLst>
      <p:ext uri="{BB962C8B-B14F-4D97-AF65-F5344CB8AC3E}">
        <p14:creationId xmlns:p14="http://schemas.microsoft.com/office/powerpoint/2010/main" val="9181628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69" y="509372"/>
            <a:ext cx="6157733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Installing Python Libraries on Vanilla Pyth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999046"/>
            <a:ext cx="83549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latin typeface="Haarlem Deco DEMO" pitchFamily="2" charset="0"/>
              </a:rPr>
              <a:t>On Windows: </a:t>
            </a:r>
            <a:r>
              <a:rPr lang="en-GB" sz="2000" dirty="0">
                <a:latin typeface="Haarlem Deco DEMO" pitchFamily="2" charset="0"/>
              </a:rPr>
              <a:t>If you get an error message, and you follow solution 3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66D899-8E95-414C-A2C3-C98ADFA9FF65}"/>
              </a:ext>
            </a:extLst>
          </p:cNvPr>
          <p:cNvSpPr txBox="1"/>
          <p:nvPr/>
        </p:nvSpPr>
        <p:spPr>
          <a:xfrm>
            <a:off x="244993" y="1534887"/>
            <a:ext cx="252135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latin typeface="Haarlem Deco DEMO" pitchFamily="2" charset="0"/>
              </a:rPr>
              <a:t>Step</a:t>
            </a:r>
            <a:r>
              <a:rPr lang="en-GB" b="1" dirty="0"/>
              <a:t> </a:t>
            </a:r>
            <a:r>
              <a:rPr lang="en-GB" sz="2000" b="1" dirty="0">
                <a:latin typeface="Haarlem Deco DEMO" pitchFamily="2" charset="0"/>
              </a:rPr>
              <a:t>2:</a:t>
            </a:r>
          </a:p>
          <a:p>
            <a:r>
              <a:rPr lang="en-GB" sz="2000" dirty="0">
                <a:latin typeface="Haarlem Deco DEMO" pitchFamily="2" charset="0"/>
              </a:rPr>
              <a:t>Copy IDLE’s folder location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2E7A19C1-619F-4947-9C8A-A07C79B38E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37"/>
          <a:stretch/>
        </p:blipFill>
        <p:spPr bwMode="auto">
          <a:xfrm>
            <a:off x="2766350" y="1426190"/>
            <a:ext cx="6278998" cy="3394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918063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69" y="509372"/>
            <a:ext cx="6157733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Installing Python Libraries on Vanilla Pyth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999046"/>
            <a:ext cx="83549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latin typeface="Haarlem Deco DEMO" pitchFamily="2" charset="0"/>
              </a:rPr>
              <a:t>On Windows: </a:t>
            </a:r>
            <a:r>
              <a:rPr lang="en-GB" sz="2000" dirty="0">
                <a:latin typeface="Haarlem Deco DEMO" pitchFamily="2" charset="0"/>
              </a:rPr>
              <a:t>If you get an error message, and you follow solution 3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66D899-8E95-414C-A2C3-C98ADFA9FF65}"/>
              </a:ext>
            </a:extLst>
          </p:cNvPr>
          <p:cNvSpPr txBox="1"/>
          <p:nvPr/>
        </p:nvSpPr>
        <p:spPr>
          <a:xfrm>
            <a:off x="244993" y="1534887"/>
            <a:ext cx="289174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latin typeface="Haarlem Deco DEMO" pitchFamily="2" charset="0"/>
              </a:rPr>
              <a:t>Step</a:t>
            </a:r>
            <a:r>
              <a:rPr lang="en-GB" b="1" dirty="0"/>
              <a:t> </a:t>
            </a:r>
            <a:r>
              <a:rPr lang="en-GB" sz="2000" b="1" dirty="0">
                <a:latin typeface="Haarlem Deco DEMO" pitchFamily="2" charset="0"/>
              </a:rPr>
              <a:t>3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Haarlem Deco DEMO" pitchFamily="2" charset="0"/>
              </a:rPr>
              <a:t>Open CMD and insert “cd ” and then the path you copie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Haarlem Deco DEMO" pitchFamily="2" charset="0"/>
              </a:rPr>
              <a:t>Insert “cd Scripts”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Haarlem Deco DEMO" pitchFamily="2" charset="0"/>
              </a:rPr>
              <a:t>Insert “pip install library”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C65E7F8F-53C3-42BE-9971-E85809E525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96" t="24808" r="35993" b="30254"/>
          <a:stretch/>
        </p:blipFill>
        <p:spPr bwMode="auto">
          <a:xfrm>
            <a:off x="3280462" y="1888830"/>
            <a:ext cx="5745354" cy="2937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89508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H7IFAx3T1OAV5yr3Xb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agozine template">
  <a:themeElements>
    <a:clrScheme name="Custom 347">
      <a:dk1>
        <a:srgbClr val="000000"/>
      </a:dk1>
      <a:lt1>
        <a:srgbClr val="FFFFFF"/>
      </a:lt1>
      <a:dk2>
        <a:srgbClr val="EFEFEF"/>
      </a:dk2>
      <a:lt2>
        <a:srgbClr val="727375"/>
      </a:lt2>
      <a:accent1>
        <a:srgbClr val="8BBCE4"/>
      </a:accent1>
      <a:accent2>
        <a:srgbClr val="657B9E"/>
      </a:accent2>
      <a:accent3>
        <a:srgbClr val="C99287"/>
      </a:accent3>
      <a:accent4>
        <a:srgbClr val="B36151"/>
      </a:accent4>
      <a:accent5>
        <a:srgbClr val="D5A6BD"/>
      </a:accent5>
      <a:accent6>
        <a:srgbClr val="A58194"/>
      </a:accent6>
      <a:hlink>
        <a:srgbClr val="FFFFFF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ccenture aug2016">
  <a:themeElements>
    <a:clrScheme name="Custom 8">
      <a:dk1>
        <a:srgbClr val="000000"/>
      </a:dk1>
      <a:lt1>
        <a:srgbClr val="FFFFFF"/>
      </a:lt1>
      <a:dk2>
        <a:srgbClr val="919191"/>
      </a:dk2>
      <a:lt2>
        <a:srgbClr val="FF0000"/>
      </a:lt2>
      <a:accent1>
        <a:srgbClr val="FF9128"/>
      </a:accent1>
      <a:accent2>
        <a:srgbClr val="FE3C0F"/>
      </a:accent2>
      <a:accent3>
        <a:srgbClr val="FF0000"/>
      </a:accent3>
      <a:accent4>
        <a:srgbClr val="BC001D"/>
      </a:accent4>
      <a:accent5>
        <a:srgbClr val="920026"/>
      </a:accent5>
      <a:accent6>
        <a:srgbClr val="710011"/>
      </a:accent6>
      <a:hlink>
        <a:srgbClr val="FF0000"/>
      </a:hlink>
      <a:folHlink>
        <a:srgbClr val="710011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5</TotalTime>
  <Words>403</Words>
  <Application>Microsoft Office PowerPoint</Application>
  <PresentationFormat>On-screen Show (16:9)</PresentationFormat>
  <Paragraphs>47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Varela</vt:lpstr>
      <vt:lpstr>Arial Black</vt:lpstr>
      <vt:lpstr>Arial Bold</vt:lpstr>
      <vt:lpstr>Twentieth Century</vt:lpstr>
      <vt:lpstr>Arial</vt:lpstr>
      <vt:lpstr>Haarlem Deco DEMO</vt:lpstr>
      <vt:lpstr>Raleway</vt:lpstr>
      <vt:lpstr>Ragozine template</vt:lpstr>
      <vt:lpstr>Accenture aug2016</vt:lpstr>
      <vt:lpstr>think-cell Slide</vt:lpstr>
      <vt:lpstr>Python Crash Course</vt:lpstr>
      <vt:lpstr>Installing Python Libraries on  conda</vt:lpstr>
      <vt:lpstr>Installing Python Libraries on Google Colab</vt:lpstr>
      <vt:lpstr>Installing Python Libraries on Vanilla Python</vt:lpstr>
      <vt:lpstr>Installing Python Libraries on Vanilla Python</vt:lpstr>
      <vt:lpstr>Installing Python Libraries on Vanilla Python</vt:lpstr>
      <vt:lpstr>Installing Python Libraries on Vanilla Python</vt:lpstr>
      <vt:lpstr>Installing Python Libraries on Vanilla Python</vt:lpstr>
      <vt:lpstr>Installing Python Libraries on Vanilla Pyth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nzo Cerreta Novartis 2020</dc:title>
  <dc:creator>CERRETA Lorenzo</dc:creator>
  <cp:lastModifiedBy>Lorenzo Cerreta</cp:lastModifiedBy>
  <cp:revision>92</cp:revision>
  <dcterms:modified xsi:type="dcterms:W3CDTF">2023-01-08T08:35:58Z</dcterms:modified>
</cp:coreProperties>
</file>